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3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4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5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5" r:id="rId13"/>
    <p:sldMasterId id="2147484067" r:id="rId14"/>
    <p:sldMasterId id="2147484090" r:id="rId15"/>
    <p:sldMasterId id="2147484103" r:id="rId16"/>
  </p:sldMasterIdLst>
  <p:notesMasterIdLst>
    <p:notesMasterId r:id="rId27"/>
  </p:notesMasterIdLst>
  <p:handoutMasterIdLst>
    <p:handoutMasterId r:id="rId28"/>
  </p:handoutMasterIdLst>
  <p:sldIdLst>
    <p:sldId id="256" r:id="rId17"/>
    <p:sldId id="257" r:id="rId18"/>
    <p:sldId id="266" r:id="rId19"/>
    <p:sldId id="258" r:id="rId20"/>
    <p:sldId id="267" r:id="rId21"/>
    <p:sldId id="260" r:id="rId22"/>
    <p:sldId id="265" r:id="rId23"/>
    <p:sldId id="262" r:id="rId24"/>
    <p:sldId id="263" r:id="rId25"/>
    <p:sldId id="264" r:id="rId26"/>
  </p:sldIdLst>
  <p:sldSz cx="13442950" cy="7561263"/>
  <p:notesSz cx="6858000" cy="9144000"/>
  <p:custDataLst>
    <p:tags r:id="rId29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000000"/>
    <a:srgbClr val="CAC8C8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24" autoAdjust="0"/>
    <p:restoredTop sz="88844" autoAdjust="0"/>
  </p:normalViewPr>
  <p:slideViewPr>
    <p:cSldViewPr snapToGrid="0">
      <p:cViewPr varScale="1">
        <p:scale>
          <a:sx n="92" d="100"/>
          <a:sy n="92" d="100"/>
        </p:scale>
        <p:origin x="1380" y="9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5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4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7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6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% Cinemagoers</a:t>
            </a:r>
          </a:p>
        </c:rich>
      </c:tx>
      <c:layout>
        <c:manualLayout>
          <c:xMode val="edge"/>
          <c:yMode val="edge"/>
          <c:x val="0.4470824578123002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% Cinemago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87-4D8B-B2A5-840CAC6A862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87-4D8B-B2A5-840CAC6A8628}"/>
              </c:ext>
            </c:extLst>
          </c:dPt>
          <c:dLbls>
            <c:dLbl>
              <c:idx val="1"/>
              <c:layout>
                <c:manualLayout>
                  <c:x val="0"/>
                  <c:y val="2.584586179261187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D87-4D8B-B2A5-840CAC6A86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</c:f>
              <c:strCache>
                <c:ptCount val="2"/>
                <c:pt idx="0">
                  <c:v>Not used an SVOD service in the last month </c:v>
                </c:pt>
                <c:pt idx="1">
                  <c:v>Used an SVOD service in the last month </c:v>
                </c:pt>
              </c:strCache>
            </c:strRef>
          </c:cat>
          <c:val>
            <c:numRef>
              <c:f>Sheet1!$B$3:$B$4</c:f>
              <c:numCache>
                <c:formatCode>0%</c:formatCode>
                <c:ptCount val="2"/>
                <c:pt idx="0">
                  <c:v>0.73</c:v>
                </c:pt>
                <c:pt idx="1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87-4D8B-B2A5-840CAC6A8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0374312"/>
        <c:axId val="420375952"/>
      </c:barChart>
      <c:catAx>
        <c:axId val="420374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5952"/>
        <c:crosses val="autoZero"/>
        <c:auto val="1"/>
        <c:lblAlgn val="ctr"/>
        <c:lblOffset val="100"/>
        <c:noMultiLvlLbl val="0"/>
      </c:catAx>
      <c:valAx>
        <c:axId val="420375952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4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/28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3326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0949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68218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6592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2353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5450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7716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0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01472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0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66937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323305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43028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73812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88959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60310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8239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4780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8096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9689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9825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7552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93889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1888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3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083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1360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4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1863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4023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783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5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8675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133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246800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455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0031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1857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5000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162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4545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5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7692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88990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6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256632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6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24790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6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0363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79483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735055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94261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25819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6611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3967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8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633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2721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5216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8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9582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2640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7034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25214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9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3360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5601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140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6379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6485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4028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488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65045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212080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0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55255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1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1684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81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3663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7999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7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vmlDrawing" Target="../drawings/vmlDrawing76.v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0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oleObject" Target="../embeddings/oleObject76.bin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tags" Target="../tags/tag7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26" Type="http://schemas.openxmlformats.org/officeDocument/2006/relationships/oleObject" Target="../embeddings/oleObject87.bin"/><Relationship Id="rId3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5" Type="http://schemas.openxmlformats.org/officeDocument/2006/relationships/tags" Target="../tags/tag88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24" Type="http://schemas.openxmlformats.org/officeDocument/2006/relationships/vmlDrawing" Target="../drawings/vmlDrawing87.v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theme" Target="../theme/theme1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slideLayout" Target="../slideLayouts/slideLayout134.xml"/><Relationship Id="rId27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theme" Target="../theme/theme1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6.xml"/><Relationship Id="rId16" Type="http://schemas.openxmlformats.org/officeDocument/2006/relationships/oleObject" Target="../embeddings/oleObject102.bin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ags" Target="../tags/tag103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vmlDrawing" Target="../drawings/vmlDrawing102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oleObject" Target="../embeddings/oleObject112.bin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tags" Target="../tags/tag113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vmlDrawing" Target="../drawings/vmlDrawing112.vml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theme" Target="../theme/theme15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69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673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0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927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598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191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567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4080" r:id="rId13"/>
    <p:sldLayoutId id="2147484081" r:id="rId14"/>
    <p:sldLayoutId id="2147484082" r:id="rId15"/>
    <p:sldLayoutId id="2147484083" r:id="rId16"/>
    <p:sldLayoutId id="2147484084" r:id="rId17"/>
    <p:sldLayoutId id="2147484085" r:id="rId18"/>
    <p:sldLayoutId id="2147484086" r:id="rId19"/>
    <p:sldLayoutId id="2147484087" r:id="rId20"/>
    <p:sldLayoutId id="2147484088" r:id="rId21"/>
    <p:sldLayoutId id="214748408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51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762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791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110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05" r:id="rId2"/>
    <p:sldLayoutId id="2147484106" r:id="rId3"/>
    <p:sldLayoutId id="2147484107" r:id="rId4"/>
    <p:sldLayoutId id="2147484108" r:id="rId5"/>
    <p:sldLayoutId id="2147484109" r:id="rId6"/>
    <p:sldLayoutId id="2147484110" r:id="rId7"/>
    <p:sldLayoutId id="2147484111" r:id="rId8"/>
    <p:sldLayoutId id="2147484112" r:id="rId9"/>
    <p:sldLayoutId id="2147484113" r:id="rId10"/>
    <p:sldLayoutId id="2147484114" r:id="rId11"/>
    <p:sldLayoutId id="2147484115" r:id="rId12"/>
    <p:sldLayoutId id="2147484116" r:id="rId13"/>
    <p:sldLayoutId id="2147484117" r:id="rId14"/>
    <p:sldLayoutId id="2147484118" r:id="rId15"/>
    <p:sldLayoutId id="2147484119" r:id="rId16"/>
    <p:sldLayoutId id="2147484120" r:id="rId17"/>
    <p:sldLayoutId id="2147484121" r:id="rId18"/>
    <p:sldLayoutId id="2147484122" r:id="rId19"/>
    <p:sldLayoutId id="2147484123" r:id="rId20"/>
    <p:sldLayoutId id="2147484124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51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33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09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16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98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898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49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38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9.xml"/><Relationship Id="rId6" Type="http://schemas.openxmlformats.org/officeDocument/2006/relationships/image" Target="../media/image17.png"/><Relationship Id="rId11" Type="http://schemas.openxmlformats.org/officeDocument/2006/relationships/image" Target="../media/image5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3C223F8-1B17-EC46-BB6F-014C9850B12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7" t="1303" r="2117" b="22914"/>
          <a:stretch/>
        </p:blipFill>
        <p:spPr>
          <a:xfrm>
            <a:off x="0" y="0"/>
            <a:ext cx="13442950" cy="709453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8F928EC-7E68-4F88-83A8-5037F72FB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79760" y="5016221"/>
            <a:ext cx="9229106" cy="709383"/>
          </a:xfrm>
        </p:spPr>
        <p:txBody>
          <a:bodyPr/>
          <a:lstStyle/>
          <a:p>
            <a:pPr>
              <a:lnSpc>
                <a:spcPts val="6000"/>
              </a:lnSpc>
            </a:pPr>
            <a:r>
              <a:rPr lang="en-GB" sz="9500" dirty="0">
                <a:solidFill>
                  <a:schemeClr val="accent3"/>
                </a:solidFill>
                <a:effectLst>
                  <a:outerShdw blurRad="50800" dist="38100" dir="2700000" algn="tl" rotWithShape="0">
                    <a:prstClr val="black">
                      <a:alpha val="23000"/>
                    </a:prstClr>
                  </a:outerShdw>
                </a:effectLst>
              </a:rPr>
              <a:t>women</a:t>
            </a:r>
            <a:endParaRPr lang="en-US" sz="9500" dirty="0">
              <a:solidFill>
                <a:schemeClr val="accent3"/>
              </a:solidFill>
              <a:effectLst>
                <a:outerShdw blurRad="50800" dist="38100" dir="2700000" algn="tl" rotWithShape="0">
                  <a:prstClr val="black">
                    <a:alpha val="23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8542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63BAB9B-90CC-4A70-85CB-A60F965BC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 them with cinema in 2020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691E94-CDC5-4414-938F-98CA8548E16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713301" y="3766292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Emma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4% female / 127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B278B9-1341-445C-880C-3352D51F7A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96051" y="7251119"/>
            <a:ext cx="6802438" cy="12311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b="1" dirty="0"/>
              <a:t>Source: </a:t>
            </a:r>
            <a:r>
              <a:rPr lang="en-GB" dirty="0"/>
              <a:t>DCM Aston campaign planner.  Index vs. % of Women in UK population.  Based on Kantar TNS comparative film data.  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AA96F5-0DD5-48B3-8E22-775B5A669E1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0406902" cy="436608"/>
          </a:xfrm>
        </p:spPr>
        <p:txBody>
          <a:bodyPr/>
          <a:lstStyle/>
          <a:p>
            <a:r>
              <a:rPr lang="en-GB" dirty="0"/>
              <a:t>Reach and engage female cinemagoers with a range of highly anticipated releases throughout 2020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E304C76-18F4-442E-A9D3-89EF27558B3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826875" y="3766292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The Photograph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71% female / 139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733FC12-AB45-4D74-BE81-E865CB1D5C9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929994" y="3766292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Military Wives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6% female / 130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4503EA7-7994-4D40-AC47-ED3A841AFB4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033113" y="3759032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Soul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6% female / 129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C73AC181-D8BA-42AF-BE05-8CFDFCDCE6A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10146687" y="3759032"/>
            <a:ext cx="2092664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Everybody’s Talking About Jamie </a:t>
            </a:r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4% female / 127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D631F20-A146-44F0-94A7-D83A4888A9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713301" y="6628796"/>
            <a:ext cx="1820121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Like A Boss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75% female / 147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9216D16-0F2F-45B2-AB2E-0221AD14A37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826875" y="6628796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Misbehaviour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9% female / 136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C1D12FD-5D26-4716-9D8F-1D2C97F14FB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5928487" y="6628192"/>
            <a:ext cx="1699531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The Woman In The Window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8% female / 135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4E0B1EA-9A7C-4AD1-8EFF-E69A354BD51A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8033113" y="6628796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In The Heights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57% female / 112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CAFE6FD-17A5-4138-8E21-1C881C8058C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0146687" y="6628796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West Side Story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4% female / 127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B7FA27F1-F4B3-4F08-9FBC-DE8B2CB11124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3"/>
          <a:srcRect t="129" b="129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5" name="Picture Placeholder 34">
            <a:extLst>
              <a:ext uri="{FF2B5EF4-FFF2-40B4-BE49-F238E27FC236}">
                <a16:creationId xmlns:a16="http://schemas.microsoft.com/office/drawing/2014/main" id="{D12E7D3B-EC7C-4A02-8E66-6692D807ABB3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4"/>
          <a:srcRect t="3380" b="3380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9" name="Picture Placeholder 38">
            <a:extLst>
              <a:ext uri="{FF2B5EF4-FFF2-40B4-BE49-F238E27FC236}">
                <a16:creationId xmlns:a16="http://schemas.microsoft.com/office/drawing/2014/main" id="{49A5D600-45F7-43A3-9557-C39DD1447DC4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5"/>
          <a:srcRect t="179" b="179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8" name="Picture Placeholder 37">
            <a:extLst>
              <a:ext uri="{FF2B5EF4-FFF2-40B4-BE49-F238E27FC236}">
                <a16:creationId xmlns:a16="http://schemas.microsoft.com/office/drawing/2014/main" id="{CC8C600C-A259-472C-B0B2-65CA25929A0F}"/>
              </a:ext>
            </a:extLst>
          </p:cNvPr>
          <p:cNvPicPr>
            <a:picLocks noGrp="1" noChangeAspect="1"/>
          </p:cNvPicPr>
          <p:nvPr>
            <p:ph type="pic" sz="quarter" idx="48"/>
          </p:nvPr>
        </p:nvPicPr>
        <p:blipFill>
          <a:blip r:embed="rId6"/>
          <a:srcRect t="203" b="203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0" name="Picture Placeholder 39">
            <a:extLst>
              <a:ext uri="{FF2B5EF4-FFF2-40B4-BE49-F238E27FC236}">
                <a16:creationId xmlns:a16="http://schemas.microsoft.com/office/drawing/2014/main" id="{202BABA9-AB63-474D-B858-F779FF74B80B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>
          <a:blip r:embed="rId7"/>
          <a:srcRect t="179" b="179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7" name="Picture Placeholder 36">
            <a:extLst>
              <a:ext uri="{FF2B5EF4-FFF2-40B4-BE49-F238E27FC236}">
                <a16:creationId xmlns:a16="http://schemas.microsoft.com/office/drawing/2014/main" id="{86B54E36-6688-4858-B50B-B5D81EC1521E}"/>
              </a:ext>
            </a:extLst>
          </p:cNvPr>
          <p:cNvPicPr>
            <a:picLocks noGrp="1" noChangeAspect="1"/>
          </p:cNvPicPr>
          <p:nvPr>
            <p:ph type="pic" sz="quarter" idx="47"/>
          </p:nvPr>
        </p:nvPicPr>
        <p:blipFill>
          <a:blip r:embed="rId8"/>
          <a:srcRect t="129" b="129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2" name="Picture Placeholder 41">
            <a:extLst>
              <a:ext uri="{FF2B5EF4-FFF2-40B4-BE49-F238E27FC236}">
                <a16:creationId xmlns:a16="http://schemas.microsoft.com/office/drawing/2014/main" id="{82E19AA5-9707-41AB-B6A3-E8417F703384}"/>
              </a:ext>
            </a:extLst>
          </p:cNvPr>
          <p:cNvPicPr>
            <a:picLocks noGrp="1" noChangeAspect="1"/>
          </p:cNvPicPr>
          <p:nvPr>
            <p:ph type="pic" sz="quarter" idx="50"/>
          </p:nvPr>
        </p:nvPicPr>
        <p:blipFill>
          <a:blip r:embed="rId9"/>
          <a:srcRect t="252" b="252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41" name="Picture Placeholder 40">
            <a:extLst>
              <a:ext uri="{FF2B5EF4-FFF2-40B4-BE49-F238E27FC236}">
                <a16:creationId xmlns:a16="http://schemas.microsoft.com/office/drawing/2014/main" id="{6EABA2F1-76DA-4E8A-8A3D-38FC666E1E1D}"/>
              </a:ext>
            </a:extLst>
          </p:cNvPr>
          <p:cNvPicPr>
            <a:picLocks noGrp="1" noChangeAspect="1"/>
          </p:cNvPicPr>
          <p:nvPr>
            <p:ph type="pic" sz="quarter" idx="43"/>
          </p:nvPr>
        </p:nvPicPr>
        <p:blipFill>
          <a:blip r:embed="rId10"/>
          <a:srcRect t="203" b="203"/>
          <a:stretch>
            <a:fillRect/>
          </a:stretch>
        </p:blipFill>
        <p:spPr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43" name="Picture Placeholder 42">
            <a:extLst>
              <a:ext uri="{FF2B5EF4-FFF2-40B4-BE49-F238E27FC236}">
                <a16:creationId xmlns:a16="http://schemas.microsoft.com/office/drawing/2014/main" id="{D69E69B6-EB44-492F-AFA3-3747045B7BAB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 rotWithShape="1">
          <a:blip r:embed="rId11"/>
          <a:srcRect l="16703" r="38195"/>
          <a:stretch/>
        </p:blipFill>
        <p:spPr>
          <a:xfrm>
            <a:off x="10134725" y="1342492"/>
            <a:ext cx="1599050" cy="2362610"/>
          </a:xfrm>
          <a:prstGeom prst="rect">
            <a:avLst/>
          </a:prstGeom>
        </p:spPr>
      </p:pic>
      <p:pic>
        <p:nvPicPr>
          <p:cNvPr id="44" name="Picture Placeholder 43">
            <a:extLst>
              <a:ext uri="{FF2B5EF4-FFF2-40B4-BE49-F238E27FC236}">
                <a16:creationId xmlns:a16="http://schemas.microsoft.com/office/drawing/2014/main" id="{E0A1FC0C-F4AC-4BBD-937F-27E36E7C85DF}"/>
              </a:ext>
            </a:extLst>
          </p:cNvPr>
          <p:cNvPicPr>
            <a:picLocks noGrp="1" noChangeAspect="1"/>
          </p:cNvPicPr>
          <p:nvPr>
            <p:ph type="pic" sz="quarter" idx="51"/>
          </p:nvPr>
        </p:nvPicPr>
        <p:blipFill>
          <a:blip r:embed="rId12"/>
          <a:srcRect t="794" b="794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37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E19C4-0390-4423-8EC0-4FB306E9D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men: their av world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C4E338-C54B-4CD7-9F75-2629370BFA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17856" y="7145749"/>
            <a:ext cx="6685250" cy="369332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1. IPA Touchpoints 2018. </a:t>
            </a:r>
          </a:p>
          <a:p>
            <a:r>
              <a:rPr lang="en-GB" dirty="0"/>
              <a:t>2. TGI Q3 2019. Commercial broadcaster includes All 4, ITV Hub, My5. Subscription includes Netflix, Amazon prime Video and Now TV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47DE4-245F-4A32-B1E0-21A6488237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9999" y="665442"/>
            <a:ext cx="7319521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Predominantly light TV viewers who are using subscription services more frequently to create their own content viewing schedules.</a:t>
            </a:r>
            <a:endParaRPr lang="en-US" dirty="0"/>
          </a:p>
        </p:txBody>
      </p:sp>
      <p:sp>
        <p:nvSpPr>
          <p:cNvPr id="8" name="Freeform 451">
            <a:extLst>
              <a:ext uri="{FF2B5EF4-FFF2-40B4-BE49-F238E27FC236}">
                <a16:creationId xmlns:a16="http://schemas.microsoft.com/office/drawing/2014/main" id="{8F68FC79-E255-466A-809D-6B79B4D03F49}"/>
              </a:ext>
            </a:extLst>
          </p:cNvPr>
          <p:cNvSpPr>
            <a:spLocks noEditPoints="1"/>
          </p:cNvSpPr>
          <p:nvPr/>
        </p:nvSpPr>
        <p:spPr bwMode="auto">
          <a:xfrm>
            <a:off x="5641475" y="2038480"/>
            <a:ext cx="2160000" cy="21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9C0CCD9-0A31-4BEA-BF72-A47069344870}"/>
              </a:ext>
            </a:extLst>
          </p:cNvPr>
          <p:cNvSpPr txBox="1">
            <a:spLocks/>
          </p:cNvSpPr>
          <p:nvPr/>
        </p:nvSpPr>
        <p:spPr>
          <a:xfrm>
            <a:off x="1499399" y="4491953"/>
            <a:ext cx="2744850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2800" dirty="0">
                <a:solidFill>
                  <a:schemeClr val="accent3"/>
                </a:solidFill>
                <a:latin typeface="Arial"/>
              </a:rPr>
              <a:t>58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women are light commercial TV viewers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41C3214-2C06-4F17-AE4D-3852997F7E83}"/>
              </a:ext>
            </a:extLst>
          </p:cNvPr>
          <p:cNvSpPr txBox="1">
            <a:spLocks/>
          </p:cNvSpPr>
          <p:nvPr/>
        </p:nvSpPr>
        <p:spPr>
          <a:xfrm>
            <a:off x="5262399" y="4491953"/>
            <a:ext cx="2918151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%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women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ave used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commercial Broadcaster Video on Demand service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last 4 weeks</a:t>
            </a:r>
            <a:r>
              <a:rPr kumimoji="0" lang="en-GB" sz="1000" b="1" i="0" u="none" strike="noStrike" kern="1200" cap="none" spc="0" normalizeH="0" baseline="5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3C3C44-FBF9-41A2-8616-57DB481456CB}"/>
              </a:ext>
            </a:extLst>
          </p:cNvPr>
          <p:cNvSpPr txBox="1">
            <a:spLocks/>
          </p:cNvSpPr>
          <p:nvPr/>
        </p:nvSpPr>
        <p:spPr>
          <a:xfrm>
            <a:off x="9167349" y="4491953"/>
            <a:ext cx="2807554" cy="1781687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%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women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ave used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Subscription Video on Demand service in the last 4 weeks</a:t>
            </a:r>
            <a:r>
              <a:rPr lang="en-GB" sz="1200" baseline="30000" dirty="0">
                <a:solidFill>
                  <a:srgbClr val="8A8A8D"/>
                </a:solidFill>
                <a:latin typeface="Arial"/>
              </a:rPr>
              <a:t>2</a:t>
            </a:r>
            <a:endParaRPr kumimoji="0" lang="en-GB" sz="1200" b="1" i="0" u="none" strike="noStrike" kern="1200" cap="none" spc="0" normalizeH="0" baseline="3000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BA0F3141-C122-4682-92AE-10144677C92C}"/>
              </a:ext>
            </a:extLst>
          </p:cNvPr>
          <p:cNvSpPr>
            <a:spLocks noEditPoints="1"/>
          </p:cNvSpPr>
          <p:nvPr/>
        </p:nvSpPr>
        <p:spPr bwMode="auto">
          <a:xfrm>
            <a:off x="9491126" y="2038480"/>
            <a:ext cx="2160000" cy="216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295">
            <a:extLst>
              <a:ext uri="{FF2B5EF4-FFF2-40B4-BE49-F238E27FC236}">
                <a16:creationId xmlns:a16="http://schemas.microsoft.com/office/drawing/2014/main" id="{5D8B5BF9-D23A-4336-BF0C-788505BAF053}"/>
              </a:ext>
            </a:extLst>
          </p:cNvPr>
          <p:cNvSpPr>
            <a:spLocks noEditPoints="1"/>
          </p:cNvSpPr>
          <p:nvPr/>
        </p:nvSpPr>
        <p:spPr bwMode="auto">
          <a:xfrm>
            <a:off x="1791824" y="2038480"/>
            <a:ext cx="2160000" cy="21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22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C0B7AA-306B-4C71-A4D0-BDC75B4030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1589" y="1714031"/>
            <a:ext cx="9079773" cy="4133199"/>
          </a:xfrm>
        </p:spPr>
        <p:txBody>
          <a:bodyPr/>
          <a:lstStyle/>
          <a:p>
            <a:pPr>
              <a:lnSpc>
                <a:spcPts val="9500"/>
              </a:lnSpc>
            </a:pPr>
            <a:r>
              <a:rPr lang="en-GB" sz="9500" dirty="0">
                <a:solidFill>
                  <a:srgbClr val="FFFFFF"/>
                </a:solidFill>
              </a:rPr>
              <a:t>78% of women </a:t>
            </a:r>
          </a:p>
          <a:p>
            <a:pPr>
              <a:lnSpc>
                <a:spcPts val="9500"/>
              </a:lnSpc>
            </a:pPr>
            <a:r>
              <a:rPr lang="en-GB" sz="9500" dirty="0">
                <a:solidFill>
                  <a:srgbClr val="FFFFFF"/>
                </a:solidFill>
              </a:rPr>
              <a:t>are cinemago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1EFDAD-4F39-474D-9E75-A2B88D77FB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ource: TGI Q3 2019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97126-F4D6-4ED0-B9C0-441C241D0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eaming FUELs their passion for film  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BCE49D-E1DB-4F00-9587-6DFE5B2AC2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968675" y="7191873"/>
            <a:ext cx="5281324" cy="246221"/>
          </a:xfrm>
        </p:spPr>
        <p:txBody>
          <a:bodyPr/>
          <a:lstStyle/>
          <a:p>
            <a:pPr lvl="0"/>
            <a:r>
              <a:rPr lang="en-GB" b="1" dirty="0"/>
              <a:t>Source</a:t>
            </a:r>
            <a:r>
              <a:rPr lang="en-GB" dirty="0"/>
              <a:t>: TGI Q3 2019. </a:t>
            </a:r>
          </a:p>
          <a:p>
            <a:pPr lvl="0"/>
            <a:r>
              <a:rPr lang="en-GB" dirty="0"/>
              <a:t>Target: Used/not used either Netflix, Amazon Prime or Now TV in the last 4 weeks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0EC8DC-A3A8-4F0A-9C28-E3F979D6A0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8666182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remains a great way of engaging with entertainment-loving women - 90% of those to use Netflix, Amazon Prime or Now TV in the last month are cinemagoers.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F72B244-0C47-4F5B-9417-40546E3269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0806820"/>
              </p:ext>
            </p:extLst>
          </p:nvPr>
        </p:nvGraphicFramePr>
        <p:xfrm>
          <a:off x="1005609" y="1551709"/>
          <a:ext cx="11249891" cy="491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DFC6850-31AA-47AB-8F4E-01E2691FDC4C}"/>
              </a:ext>
            </a:extLst>
          </p:cNvPr>
          <p:cNvCxnSpPr>
            <a:cxnSpLocks/>
          </p:cNvCxnSpPr>
          <p:nvPr/>
        </p:nvCxnSpPr>
        <p:spPr>
          <a:xfrm flipV="1">
            <a:off x="5948218" y="2365444"/>
            <a:ext cx="1668045" cy="533506"/>
          </a:xfrm>
          <a:prstGeom prst="straightConnector1">
            <a:avLst/>
          </a:prstGeom>
          <a:ln w="158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D3F3E3D-6587-4BB7-8650-314185B22FB5}"/>
              </a:ext>
            </a:extLst>
          </p:cNvPr>
          <p:cNvSpPr txBox="1"/>
          <p:nvPr/>
        </p:nvSpPr>
        <p:spPr>
          <a:xfrm>
            <a:off x="6183488" y="2170908"/>
            <a:ext cx="119750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23% uplift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215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3C4B6C64-39B5-8F4F-9EF4-0A7CF98817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1589" y="1578328"/>
            <a:ext cx="9079773" cy="4133199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76% agree the </a:t>
            </a:r>
          </a:p>
          <a:p>
            <a:r>
              <a:rPr lang="en-GB" dirty="0">
                <a:solidFill>
                  <a:srgbClr val="FFFFFF"/>
                </a:solidFill>
              </a:rPr>
              <a:t>cinema experience cannot be replicated </a:t>
            </a:r>
          </a:p>
          <a:p>
            <a:r>
              <a:rPr lang="en-GB" sz="4400" dirty="0">
                <a:solidFill>
                  <a:srgbClr val="FFFFFF"/>
                </a:solidFill>
              </a:rPr>
              <a:t>(on Tv, Laptop or Mobile)</a:t>
            </a:r>
            <a:endParaRPr lang="en-US" sz="4400" dirty="0">
              <a:solidFill>
                <a:srgbClr val="FFFFFF"/>
              </a:solidFill>
            </a:endParaRP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B2BA5580-ABC1-E44D-8812-F92CC85A92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190847"/>
            <a:ext cx="3116263" cy="243656"/>
          </a:xfrm>
        </p:spPr>
        <p:txBody>
          <a:bodyPr/>
          <a:lstStyle/>
          <a:p>
            <a:r>
              <a:rPr lang="en-GB" dirty="0"/>
              <a:t>Source: FAME 2018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504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7276AA-FD40-4D36-9DFB-F40CA5647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emale cinemagoers want to escap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3A10B6-5E1B-4620-9EE9-9020D1573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15971" y="7241883"/>
            <a:ext cx="3116263" cy="123111"/>
          </a:xfrm>
        </p:spPr>
        <p:txBody>
          <a:bodyPr/>
          <a:lstStyle/>
          <a:p>
            <a:r>
              <a:rPr lang="en-US" dirty="0"/>
              <a:t>Source: FAME 2018; IPA Touchpoints 2018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B0EBB5-E508-40BE-973E-0C45317816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30605"/>
            <a:ext cx="8673278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The big screen experience lets them relax, treat themselves and be absorbed in another world. 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CB769C2-9276-49EB-ADC9-8E943CA640E6}"/>
              </a:ext>
            </a:extLst>
          </p:cNvPr>
          <p:cNvSpPr txBox="1">
            <a:spLocks/>
          </p:cNvSpPr>
          <p:nvPr/>
        </p:nvSpPr>
        <p:spPr>
          <a:xfrm>
            <a:off x="2176424" y="5600594"/>
            <a:ext cx="3690072" cy="997453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GB" sz="1600" dirty="0">
                <a:solidFill>
                  <a:schemeClr val="accent6"/>
                </a:solidFill>
                <a:latin typeface="Arial"/>
              </a:rPr>
              <a:t>“A trip to the cinema lets me escape from everyday life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en-GB" sz="900" dirty="0">
                <a:solidFill>
                  <a:srgbClr val="8A8A8D"/>
                </a:solidFill>
                <a:latin typeface="Arial"/>
              </a:rPr>
              <a:t>112 index vs. average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le cinemagoer)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2C50056-19DE-4976-B630-37B199D4B531}"/>
              </a:ext>
            </a:extLst>
          </p:cNvPr>
          <p:cNvSpPr txBox="1">
            <a:spLocks/>
          </p:cNvSpPr>
          <p:nvPr/>
        </p:nvSpPr>
        <p:spPr>
          <a:xfrm>
            <a:off x="7570601" y="5600594"/>
            <a:ext cx="3690071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“Going to the cinema is a real treat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14 index vs. </a:t>
            </a:r>
            <a:r>
              <a:rPr lang="en-GB" sz="900" dirty="0">
                <a:solidFill>
                  <a:srgbClr val="8A8A8D"/>
                </a:solidFill>
                <a:latin typeface="Arial"/>
              </a:rPr>
              <a:t>average male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inemagoer)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419544D-E0C1-471D-9259-29ABBB9699C1}"/>
              </a:ext>
            </a:extLst>
          </p:cNvPr>
          <p:cNvSpPr txBox="1">
            <a:spLocks/>
          </p:cNvSpPr>
          <p:nvPr/>
        </p:nvSpPr>
        <p:spPr bwMode="gray">
          <a:xfrm>
            <a:off x="3026319" y="3104608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dirty="0">
                <a:solidFill>
                  <a:schemeClr val="accent3"/>
                </a:solidFill>
              </a:rPr>
              <a:t>75</a:t>
            </a: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mpact" charset="0"/>
              </a:rPr>
              <a:t>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6C93B86-CC97-4164-B5EC-04BABBEAFAB8}"/>
              </a:ext>
            </a:extLst>
          </p:cNvPr>
          <p:cNvGrpSpPr/>
          <p:nvPr/>
        </p:nvGrpSpPr>
        <p:grpSpPr>
          <a:xfrm>
            <a:off x="2174471" y="1711424"/>
            <a:ext cx="3693979" cy="3693979"/>
            <a:chOff x="5372210" y="1607899"/>
            <a:chExt cx="3693979" cy="3693979"/>
          </a:xfrm>
        </p:grpSpPr>
        <p:sp>
          <p:nvSpPr>
            <p:cNvPr id="16" name="Block Arc 15">
              <a:extLst>
                <a:ext uri="{FF2B5EF4-FFF2-40B4-BE49-F238E27FC236}">
                  <a16:creationId xmlns:a16="http://schemas.microsoft.com/office/drawing/2014/main" id="{C1F69D20-7E08-401A-A6E7-90A45E74FE18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2565502"/>
                <a:gd name="adj3" fmla="val 2717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1E58C1B8-DAB3-4E94-A626-D4531E9A76F7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9613623"/>
                <a:gd name="adj2" fmla="val 4156081"/>
                <a:gd name="adj3" fmla="val 269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953B6A-C33D-45AA-9A40-4EC3FE73EA8B}"/>
              </a:ext>
            </a:extLst>
          </p:cNvPr>
          <p:cNvSpPr txBox="1">
            <a:spLocks/>
          </p:cNvSpPr>
          <p:nvPr/>
        </p:nvSpPr>
        <p:spPr bwMode="gray">
          <a:xfrm>
            <a:off x="8413283" y="3104608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mpact" charset="0"/>
              </a:rPr>
              <a:t>80%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976B544-65A4-4A74-80DD-78DFE9595829}"/>
              </a:ext>
            </a:extLst>
          </p:cNvPr>
          <p:cNvGrpSpPr/>
          <p:nvPr/>
        </p:nvGrpSpPr>
        <p:grpSpPr>
          <a:xfrm>
            <a:off x="7570601" y="1711424"/>
            <a:ext cx="3693206" cy="3693980"/>
            <a:chOff x="5372983" y="1607898"/>
            <a:chExt cx="3693206" cy="3693980"/>
          </a:xfrm>
        </p:grpSpPr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id="{38502D4F-F01E-4E51-867B-82F4EB0347B4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3423511"/>
                <a:gd name="adj3" fmla="val 2731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Block Arc 20">
              <a:extLst>
                <a:ext uri="{FF2B5EF4-FFF2-40B4-BE49-F238E27FC236}">
                  <a16:creationId xmlns:a16="http://schemas.microsoft.com/office/drawing/2014/main" id="{DEED8D4E-A04D-4379-A853-DB55D620B136}"/>
                </a:ext>
              </a:extLst>
            </p:cNvPr>
            <p:cNvSpPr/>
            <p:nvPr/>
          </p:nvSpPr>
          <p:spPr>
            <a:xfrm rot="20348427" flipV="1">
              <a:off x="5372983" y="1607898"/>
              <a:ext cx="3690071" cy="3690071"/>
            </a:xfrm>
            <a:prstGeom prst="blockArc">
              <a:avLst>
                <a:gd name="adj1" fmla="val 8634299"/>
                <a:gd name="adj2" fmla="val 4156081"/>
                <a:gd name="adj3" fmla="val 269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205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7276AA-FD40-4D36-9DFB-F40CA5647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 is a social experience 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3A10B6-5E1B-4620-9EE9-9020D1573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15971" y="7241883"/>
            <a:ext cx="3116263" cy="123111"/>
          </a:xfrm>
        </p:spPr>
        <p:txBody>
          <a:bodyPr/>
          <a:lstStyle/>
          <a:p>
            <a:r>
              <a:rPr lang="en-US" dirty="0"/>
              <a:t>Source: FAME 2018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B0EBB5-E508-40BE-973E-0C45317816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30605"/>
            <a:ext cx="8143283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In the week with friends or at the weekend with the whole family, a trip to the cinema consistently provides women with a high-quality shared experience.</a:t>
            </a:r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CB769C2-9276-49EB-ADC9-8E943CA640E6}"/>
              </a:ext>
            </a:extLst>
          </p:cNvPr>
          <p:cNvSpPr txBox="1">
            <a:spLocks/>
          </p:cNvSpPr>
          <p:nvPr/>
        </p:nvSpPr>
        <p:spPr>
          <a:xfrm>
            <a:off x="2176424" y="5539634"/>
            <a:ext cx="3690072" cy="997453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Watching a film at the cinema gives me something to talk about with friends &amp; family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18 index vs. average male cinemagoer)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2C50056-19DE-4976-B630-37B199D4B531}"/>
              </a:ext>
            </a:extLst>
          </p:cNvPr>
          <p:cNvSpPr txBox="1">
            <a:spLocks/>
          </p:cNvSpPr>
          <p:nvPr/>
        </p:nvSpPr>
        <p:spPr>
          <a:xfrm>
            <a:off x="7573736" y="5539634"/>
            <a:ext cx="3690071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The cinema is a great way to spend quality time with friend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amp; family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15 index vs. average male cinemagoer)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419544D-E0C1-471D-9259-29ABBB9699C1}"/>
              </a:ext>
            </a:extLst>
          </p:cNvPr>
          <p:cNvSpPr txBox="1">
            <a:spLocks/>
          </p:cNvSpPr>
          <p:nvPr/>
        </p:nvSpPr>
        <p:spPr bwMode="gray">
          <a:xfrm>
            <a:off x="3026319" y="3114091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mpact" charset="0"/>
              </a:rPr>
              <a:t>71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6C93B86-CC97-4164-B5EC-04BABBEAFAB8}"/>
              </a:ext>
            </a:extLst>
          </p:cNvPr>
          <p:cNvGrpSpPr/>
          <p:nvPr/>
        </p:nvGrpSpPr>
        <p:grpSpPr>
          <a:xfrm>
            <a:off x="2174471" y="1719239"/>
            <a:ext cx="3693979" cy="3693979"/>
            <a:chOff x="5372210" y="1607899"/>
            <a:chExt cx="3693979" cy="3693979"/>
          </a:xfrm>
        </p:grpSpPr>
        <p:sp>
          <p:nvSpPr>
            <p:cNvPr id="16" name="Block Arc 15">
              <a:extLst>
                <a:ext uri="{FF2B5EF4-FFF2-40B4-BE49-F238E27FC236}">
                  <a16:creationId xmlns:a16="http://schemas.microsoft.com/office/drawing/2014/main" id="{C1F69D20-7E08-401A-A6E7-90A45E74FE18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2565502"/>
                <a:gd name="adj3" fmla="val 2717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1E58C1B8-DAB3-4E94-A626-D4531E9A76F7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10560526"/>
                <a:gd name="adj2" fmla="val 4156081"/>
                <a:gd name="adj3" fmla="val 269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953B6A-C33D-45AA-9A40-4EC3FE73EA8B}"/>
              </a:ext>
            </a:extLst>
          </p:cNvPr>
          <p:cNvSpPr txBox="1">
            <a:spLocks/>
          </p:cNvSpPr>
          <p:nvPr/>
        </p:nvSpPr>
        <p:spPr bwMode="gray">
          <a:xfrm>
            <a:off x="8413283" y="3102940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dirty="0">
                <a:solidFill>
                  <a:schemeClr val="accent3"/>
                </a:solidFill>
              </a:rPr>
              <a:t>68</a:t>
            </a: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Impact" charset="0"/>
              </a:rPr>
              <a:t>%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976B544-65A4-4A74-80DD-78DFE9595829}"/>
              </a:ext>
            </a:extLst>
          </p:cNvPr>
          <p:cNvGrpSpPr/>
          <p:nvPr/>
        </p:nvGrpSpPr>
        <p:grpSpPr>
          <a:xfrm>
            <a:off x="7570601" y="1715331"/>
            <a:ext cx="3693206" cy="3693980"/>
            <a:chOff x="5372983" y="1607898"/>
            <a:chExt cx="3693206" cy="3693980"/>
          </a:xfrm>
        </p:grpSpPr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id="{38502D4F-F01E-4E51-867B-82F4EB0347B4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3423511"/>
                <a:gd name="adj3" fmla="val 2731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Block Arc 20">
              <a:extLst>
                <a:ext uri="{FF2B5EF4-FFF2-40B4-BE49-F238E27FC236}">
                  <a16:creationId xmlns:a16="http://schemas.microsoft.com/office/drawing/2014/main" id="{DEED8D4E-A04D-4379-A853-DB55D620B136}"/>
                </a:ext>
              </a:extLst>
            </p:cNvPr>
            <p:cNvSpPr/>
            <p:nvPr/>
          </p:nvSpPr>
          <p:spPr>
            <a:xfrm rot="20348427" flipV="1">
              <a:off x="5372983" y="1607898"/>
              <a:ext cx="3690071" cy="3690071"/>
            </a:xfrm>
            <a:prstGeom prst="blockArc">
              <a:avLst>
                <a:gd name="adj1" fmla="val 11650032"/>
                <a:gd name="adj2" fmla="val 4156081"/>
                <a:gd name="adj3" fmla="val 269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075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ality shared experienc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81059" y="6043852"/>
            <a:ext cx="4140005" cy="1729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3"/>
                </a:solidFill>
              </a:rPr>
              <a:t>Romance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ne to watch: The Photograph (Index: 139)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March 2020</a:t>
            </a:r>
          </a:p>
          <a:p>
            <a:pPr>
              <a:lnSpc>
                <a:spcPct val="100000"/>
              </a:lnSpc>
            </a:pPr>
            <a:endParaRPr lang="en-US" sz="1200" dirty="0"/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rgbClr val="FB3449"/>
                </a:solidFill>
              </a:rPr>
              <a:t> </a:t>
            </a:r>
            <a:endParaRPr lang="en-US" sz="1200" dirty="0">
              <a:solidFill>
                <a:srgbClr val="FB3449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4669371" y="6043852"/>
            <a:ext cx="4128763" cy="1729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3"/>
                </a:solidFill>
              </a:rPr>
              <a:t>Musicals 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ne to watch: Everybody’s Talking About Jamie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(Index: 127)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ctober 2020</a:t>
            </a:r>
            <a:endParaRPr lang="en-US" sz="1200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sz="1200" dirty="0">
              <a:solidFill>
                <a:srgbClr val="FB3449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8946441" y="6043852"/>
            <a:ext cx="4165615" cy="1729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3"/>
                </a:solidFill>
              </a:rPr>
              <a:t>Drama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ne to watch: Military Wives (Index: 130)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March 2020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0182225" y="7128009"/>
            <a:ext cx="3116263" cy="3693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Top-indexing genres source: TGI Q3 2019</a:t>
            </a:r>
            <a:br>
              <a:rPr lang="en-GB" dirty="0"/>
            </a:br>
            <a:r>
              <a:rPr lang="en-GB" dirty="0"/>
              <a:t>Film profile source - DCM Planner, profiles based on comparative film profiles from CAA Film Monito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0887528" cy="436608"/>
          </a:xfrm>
        </p:spPr>
        <p:txBody>
          <a:bodyPr/>
          <a:lstStyle/>
          <a:p>
            <a:r>
              <a:rPr lang="en-US" dirty="0"/>
              <a:t>Heart-warming romance, uplifting musicals, captivating drama – cinema is the place for women to escape with others.</a:t>
            </a:r>
          </a:p>
        </p:txBody>
      </p:sp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ADBEEA76-C063-4906-A424-DEEF94B560CB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/>
          <a:srcRect l="13091" t="5662" r="36329" b="10180"/>
          <a:stretch/>
        </p:blipFill>
        <p:spPr>
          <a:xfrm>
            <a:off x="4671689" y="1395413"/>
            <a:ext cx="4113860" cy="4560887"/>
          </a:xfrm>
          <a:prstGeom prst="rect">
            <a:avLst/>
          </a:prstGeom>
        </p:spPr>
      </p:pic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B2CB97F7-1CF5-448F-B941-5E758DCCABB1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4"/>
          <a:srcRect l="19830" r="19830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37DC1195-3183-4FDE-B7E0-8B1C61A3F52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/>
          <a:srcRect l="27181" r="22011"/>
          <a:stretch/>
        </p:blipFill>
        <p:spPr>
          <a:xfrm>
            <a:off x="381059" y="1395413"/>
            <a:ext cx="4119682" cy="456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AE129E3-0E77-42C6-ADB3-EFA0D316C3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st efficient female films of 2019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CE14274-B899-4EDB-A7BD-72CE00125DA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1969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Judy</a:t>
            </a:r>
          </a:p>
          <a:p>
            <a:endParaRPr lang="en-GB" sz="105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1050" dirty="0">
                <a:solidFill>
                  <a:schemeClr val="accent6"/>
                </a:solidFill>
              </a:rPr>
              <a:t>80% Fema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AF3B71-DD0C-48E2-9447-18E1527F46D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605089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Wild Rose 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77% Female</a:t>
            </a:r>
          </a:p>
          <a:p>
            <a:endParaRPr lang="en-GB" sz="1050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A009F7C-C490-4D02-8F17-8D7DDBB3AB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708208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What Men Want 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77% Female</a:t>
            </a:r>
          </a:p>
          <a:p>
            <a:endParaRPr lang="en-US" sz="1050" dirty="0">
              <a:solidFill>
                <a:schemeClr val="accent6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B32EE2E-7E17-4403-A51B-DC632BCAEE0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811327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Downton Abbey</a:t>
            </a:r>
          </a:p>
          <a:p>
            <a:endParaRPr lang="en-GB" sz="1050" dirty="0">
              <a:solidFill>
                <a:schemeClr val="accent2"/>
              </a:solidFill>
            </a:endParaRPr>
          </a:p>
          <a:p>
            <a:r>
              <a:rPr lang="en-GB" sz="1050" dirty="0">
                <a:solidFill>
                  <a:schemeClr val="accent6"/>
                </a:solidFill>
              </a:rPr>
              <a:t>70% Female</a:t>
            </a:r>
          </a:p>
          <a:p>
            <a:endParaRPr lang="en-US" sz="1050" dirty="0">
              <a:solidFill>
                <a:schemeClr val="accent6"/>
              </a:solidFill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43AB114-F610-4590-BBE9-A4AA0CE68F7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914445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Hustlers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69% Female</a:t>
            </a:r>
          </a:p>
          <a:p>
            <a:endParaRPr lang="en-US" sz="1050" dirty="0">
              <a:solidFill>
                <a:schemeClr val="accent6"/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8A72120-64B8-4C70-A950-E0CF2E0FBF3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1017563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Fisherman’s Friends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62% Female</a:t>
            </a:r>
          </a:p>
          <a:p>
            <a:endParaRPr lang="en-US" sz="1050" dirty="0">
              <a:solidFill>
                <a:schemeClr val="accent6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57778F-641D-48BD-9831-A4B878745A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252009"/>
            <a:ext cx="3116263" cy="12311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b="1" dirty="0"/>
              <a:t>Source: </a:t>
            </a:r>
            <a:r>
              <a:rPr lang="en-GB" dirty="0"/>
              <a:t>Kantar TNS Film Monitor Profiles.</a:t>
            </a:r>
            <a:endParaRPr lang="en-US" b="1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FD99FD-CED4-4A20-AEBA-F71AFF4191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2818843" cy="436608"/>
          </a:xfrm>
        </p:spPr>
        <p:txBody>
          <a:bodyPr/>
          <a:lstStyle/>
          <a:p>
            <a:r>
              <a:rPr lang="en-GB" dirty="0"/>
              <a:t>High profiling female titles enable advertisers to minimise wastage.</a:t>
            </a:r>
            <a:endParaRPr lang="en-US" dirty="0"/>
          </a:p>
        </p:txBody>
      </p:sp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ACF59F28-697E-45D1-9969-FDC584813692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2"/>
          <a:srcRect t="2084" b="2084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DFDC0670-BBAC-40B6-BCB0-607125273517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3"/>
          <a:srcRect t="137" b="137"/>
          <a:stretch>
            <a:fillRect/>
          </a:stretch>
        </p:blipFill>
        <p:spPr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F677A473-06F3-4E0A-BA2F-5907DEBD956B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4"/>
          <a:srcRect t="211" b="211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B846364B-F735-4374-9FD0-BB112C995B3D}"/>
              </a:ext>
            </a:extLst>
          </p:cNvPr>
          <p:cNvPicPr>
            <a:picLocks noGrp="1" noChangeAspect="1"/>
          </p:cNvPicPr>
          <p:nvPr>
            <p:ph type="pic" sz="quarter" idx="43"/>
          </p:nvPr>
        </p:nvPicPr>
        <p:blipFill>
          <a:blip r:embed="rId5"/>
          <a:srcRect t="137" b="137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053E64C7-813F-4BF3-BCBF-2EDB1FB5A2C5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6"/>
          <a:srcRect t="180" b="180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5DC6C3D8-94D8-49F3-80F1-EAB05A3302A4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>
          <a:blip r:embed="rId7"/>
          <a:srcRect t="211" b="211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49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1_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3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4.xml><?xml version="1.0" encoding="utf-8"?>
<a:theme xmlns:a="http://schemas.openxmlformats.org/drawingml/2006/main" name="1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15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16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39</Words>
  <Application>Microsoft Office PowerPoint</Application>
  <PresentationFormat>Custom</PresentationFormat>
  <Paragraphs>109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1" baseType="lpstr">
      <vt:lpstr>ＭＳ Ｐゴシック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Divider Slides</vt:lpstr>
      <vt:lpstr>1_Copy Slides</vt:lpstr>
      <vt:lpstr>1_Statement Slides</vt:lpstr>
      <vt:lpstr>1_Image Slides</vt:lpstr>
      <vt:lpstr>think-cell Slide</vt:lpstr>
      <vt:lpstr>women</vt:lpstr>
      <vt:lpstr>women: their av world</vt:lpstr>
      <vt:lpstr>PowerPoint Presentation</vt:lpstr>
      <vt:lpstr>Streaming FUELs their passion for film  </vt:lpstr>
      <vt:lpstr>PowerPoint Presentation</vt:lpstr>
      <vt:lpstr>female cinemagoers want to escape</vt:lpstr>
      <vt:lpstr>Cinema is a social experience </vt:lpstr>
      <vt:lpstr>Quality shared experiences</vt:lpstr>
      <vt:lpstr>The most efficient female films of 2019</vt:lpstr>
      <vt:lpstr>engage them with cinema in 2020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8-08T16:36:52Z</dcterms:created>
  <dcterms:modified xsi:type="dcterms:W3CDTF">2020-01-28T15:50:3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